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2"/>
  </p:notesMasterIdLst>
  <p:sldIdLst>
    <p:sldId id="2145708750" r:id="rId5"/>
    <p:sldId id="2147482191" r:id="rId6"/>
    <p:sldId id="2147482192" r:id="rId7"/>
    <p:sldId id="2147482193" r:id="rId8"/>
    <p:sldId id="2147482196" r:id="rId9"/>
    <p:sldId id="2147482194" r:id="rId10"/>
    <p:sldId id="2147482195" r:id="rId11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4572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9144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13716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18288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22860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27432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32004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36576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BC6F2B-B898-E3AE-7FA7-398C69DCAF9F}" name="Jason Ge" initials="" userId="S::Jason.Ge@prudential.com.cn::fd611a83-b73c-4f40-9bdc-2be377d8b014" providerId="AD"/>
  <p188:author id="{DD6C604B-C7AC-96FC-9BF7-79DA1A7C268B}" name="Young Chen （陈丽芳）" initials="Y（" userId="S::young.chen@prudential.com.cn::03c2a760-d114-413a-ba80-1c98619977b8" providerId="AD"/>
  <p188:author id="{23010F92-4B05-B702-44F8-37AE62468C70}" name="Young Chen （陈丽芳）" initials="" userId="S::Young.Chen@prudential.com.cn::03c2a760-d114-413a-ba80-1c98619977b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B8B8"/>
    <a:srgbClr val="197B08"/>
    <a:srgbClr val="3398D2"/>
    <a:srgbClr val="009637"/>
    <a:srgbClr val="000000"/>
    <a:srgbClr val="78E300"/>
    <a:srgbClr val="EE1A2E"/>
    <a:srgbClr val="92D050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C8C8C8"/>
              </a:solidFill>
              <a:prstDash val="solid"/>
              <a:miter lim="400000"/>
            </a:ln>
          </a:top>
          <a:bottom>
            <a:ln w="12700" cap="flat">
              <a:solidFill>
                <a:srgbClr val="C8C8C8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25400" cap="flat">
              <a:solidFill>
                <a:srgbClr val="A9A9A9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38100" cap="flat">
              <a:solidFill>
                <a:srgbClr val="00A1FF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381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solidFill>
            <a:srgbClr val="014D80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C8C8C8"/>
              </a:solidFill>
              <a:prstDash val="solid"/>
              <a:miter lim="400000"/>
            </a:ln>
          </a:top>
          <a:bottom>
            <a:ln w="12700" cap="flat">
              <a:solidFill>
                <a:srgbClr val="C8C8C8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ff" i="off">
        <a:font>
          <a:latin typeface="Graphik Medium"/>
          <a:ea typeface="Graphik Medium"/>
          <a:cs typeface="Graphik Medium"/>
        </a:font>
        <a:srgbClr val="FFFFFF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13B100"/>
          </a:solidFill>
        </a:fill>
      </a:tcStyle>
    </a:firstCol>
    <a:lastRow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38100" cap="flat">
              <a:solidFill>
                <a:srgbClr val="61D836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Graphik Medium"/>
          <a:ea typeface="Graphik Medium"/>
          <a:cs typeface="Graphik Medium"/>
        </a:font>
        <a:srgbClr val="FFFFFF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381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552055"/>
              <a:lumOff val="-12548"/>
            </a:schemeClr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C8C8C8"/>
              </a:solidFill>
              <a:prstDash val="solid"/>
              <a:miter lim="400000"/>
            </a:ln>
          </a:top>
          <a:bottom>
            <a:ln w="12700" cap="flat">
              <a:solidFill>
                <a:srgbClr val="C8C8C8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ff" i="off">
        <a:font>
          <a:latin typeface="Graphik Medium"/>
          <a:ea typeface="Graphik Medium"/>
          <a:cs typeface="Graphik Medium"/>
        </a:font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chemeClr val="accent4">
              <a:hueOff val="-613784"/>
              <a:lumOff val="1275"/>
            </a:scheme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38100" cap="flat">
              <a:solidFill>
                <a:schemeClr val="accent4">
                  <a:hueOff val="-613784"/>
                  <a:lumOff val="1275"/>
                </a:schemeClr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Graphik Medium"/>
          <a:ea typeface="Graphik Medium"/>
          <a:cs typeface="Graphik Medium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381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FF5300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C8C8C8"/>
              </a:solidFill>
              <a:prstDash val="solid"/>
              <a:miter lim="400000"/>
            </a:ln>
          </a:top>
          <a:bottom>
            <a:ln w="12700" cap="flat">
              <a:solidFill>
                <a:srgbClr val="C8C8C8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C0C0C0"/>
              </a:solidFill>
              <a:prstDash val="solid"/>
              <a:miter lim="400000"/>
            </a:ln>
          </a:right>
          <a:top>
            <a:ln w="12700" cap="flat">
              <a:solidFill>
                <a:srgbClr val="C0C0C0"/>
              </a:solidFill>
              <a:prstDash val="solid"/>
              <a:miter lim="400000"/>
            </a:ln>
          </a:top>
          <a:bottom>
            <a:ln w="12700" cap="flat">
              <a:solidFill>
                <a:srgbClr val="C0C0C0"/>
              </a:solidFill>
              <a:prstDash val="solid"/>
              <a:miter lim="400000"/>
            </a:ln>
          </a:bottom>
          <a:insideH>
            <a:ln w="12700" cap="flat">
              <a:solidFill>
                <a:srgbClr val="C0C0C0"/>
              </a:solidFill>
              <a:prstDash val="solid"/>
              <a:miter lim="400000"/>
            </a:ln>
          </a:insideH>
          <a:insideV>
            <a:ln w="12700" cap="flat">
              <a:solidFill>
                <a:srgbClr val="C0C0C0"/>
              </a:solidFill>
              <a:prstDash val="solid"/>
              <a:miter lim="400000"/>
            </a:ln>
          </a:insideV>
        </a:tcBdr>
        <a:fill>
          <a:solidFill>
            <a:srgbClr val="98195F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38100" cap="flat">
              <a:solidFill>
                <a:schemeClr val="accent6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C0C0C0"/>
              </a:solidFill>
              <a:prstDash val="solid"/>
              <a:miter lim="400000"/>
            </a:ln>
          </a:left>
          <a:right>
            <a:ln w="12700" cap="flat">
              <a:solidFill>
                <a:srgbClr val="C0C0C0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38100" cap="flat">
              <a:solidFill>
                <a:srgbClr val="C0C0C0"/>
              </a:solidFill>
              <a:prstDash val="solid"/>
              <a:miter lim="400000"/>
            </a:ln>
          </a:bottom>
          <a:insideH>
            <a:ln w="12700" cap="flat">
              <a:solidFill>
                <a:srgbClr val="C0C0C0"/>
              </a:solidFill>
              <a:prstDash val="solid"/>
              <a:miter lim="400000"/>
            </a:ln>
          </a:insideH>
          <a:insideV>
            <a:ln w="12700" cap="flat">
              <a:solidFill>
                <a:srgbClr val="C0C0C0"/>
              </a:solidFill>
              <a:prstDash val="solid"/>
              <a:miter lim="400000"/>
            </a:ln>
          </a:insideV>
        </a:tcBdr>
        <a:fill>
          <a:solidFill>
            <a:srgbClr val="650E48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C8C8C8"/>
              </a:solidFill>
              <a:prstDash val="solid"/>
              <a:miter lim="400000"/>
            </a:ln>
          </a:top>
          <a:bottom>
            <a:ln w="12700" cap="flat">
              <a:solidFill>
                <a:srgbClr val="C8C8C8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38100" cap="flat">
              <a:solidFill>
                <a:srgbClr val="A9A9A9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38100" cap="flat">
              <a:solidFill>
                <a:srgbClr val="A9A9A9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381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64646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60" d="100"/>
          <a:sy n="60" d="100"/>
        </p:scale>
        <p:origin x="800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4" name="Shape 114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942443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5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of presentation"/>
          <p:cNvSpPr txBox="1">
            <a:spLocks noGrp="1"/>
          </p:cNvSpPr>
          <p:nvPr>
            <p:ph type="body" sz="quarter" idx="21"/>
          </p:nvPr>
        </p:nvSpPr>
        <p:spPr>
          <a:xfrm>
            <a:off x="1320800" y="5689599"/>
            <a:ext cx="11392273" cy="1371601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defTabSz="825500">
              <a:spcBef>
                <a:spcPts val="0"/>
              </a:spcBef>
              <a:buClrTx/>
              <a:buSzTx/>
              <a:buNone/>
              <a:defRPr sz="8400">
                <a:solidFill>
                  <a:srgbClr val="ED1B2E"/>
                </a:solidFill>
                <a:latin typeface="SF Pro Text Heavy"/>
                <a:ea typeface="SF Pro Text Heavy"/>
                <a:cs typeface="SF Pro Text Heavy"/>
                <a:sym typeface="SF Pro Text Heavy"/>
              </a:defRPr>
            </a:lvl1pPr>
          </a:lstStyle>
          <a:p>
            <a:r>
              <a:t>Title of presentation</a:t>
            </a:r>
          </a:p>
        </p:txBody>
      </p:sp>
      <p:sp>
        <p:nvSpPr>
          <p:cNvPr id="28" name="Subtitle"/>
          <p:cNvSpPr txBox="1">
            <a:spLocks noGrp="1"/>
          </p:cNvSpPr>
          <p:nvPr>
            <p:ph type="body" sz="quarter" idx="22"/>
          </p:nvPr>
        </p:nvSpPr>
        <p:spPr>
          <a:xfrm>
            <a:off x="1320800" y="7213600"/>
            <a:ext cx="3336132" cy="1066801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defTabSz="825500">
              <a:spcBef>
                <a:spcPts val="0"/>
              </a:spcBef>
              <a:buClrTx/>
              <a:buSzTx/>
              <a:buNone/>
              <a:defRPr sz="6400">
                <a:solidFill>
                  <a:srgbClr val="333333"/>
                </a:solidFill>
                <a:latin typeface="SF Pro Text Bold"/>
                <a:ea typeface="SF Pro Text Bold"/>
                <a:cs typeface="SF Pro Text Bold"/>
                <a:sym typeface="SF Pro Text Bold"/>
              </a:defRPr>
            </a:lvl1pPr>
          </a:lstStyle>
          <a:p>
            <a:r>
              <a:t>Subtitle</a:t>
            </a:r>
          </a:p>
        </p:txBody>
      </p:sp>
      <p:sp>
        <p:nvSpPr>
          <p:cNvPr id="29" name="Owner   01 Jan 2021"/>
          <p:cNvSpPr txBox="1">
            <a:spLocks noGrp="1"/>
          </p:cNvSpPr>
          <p:nvPr>
            <p:ph type="body" sz="quarter" idx="23"/>
          </p:nvPr>
        </p:nvSpPr>
        <p:spPr>
          <a:xfrm>
            <a:off x="1320800" y="12395200"/>
            <a:ext cx="3536306" cy="469900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defTabSz="825500">
              <a:spcBef>
                <a:spcPts val="0"/>
              </a:spcBef>
              <a:buClrTx/>
              <a:buSzTx/>
              <a:buNone/>
              <a:defRPr sz="2400" cap="all">
                <a:solidFill>
                  <a:srgbClr val="333333"/>
                </a:solidFill>
                <a:latin typeface="SF Pro Text Medium"/>
                <a:ea typeface="SF Pro Text Medium"/>
                <a:cs typeface="SF Pro Text Medium"/>
                <a:sym typeface="SF Pro Text Medium"/>
              </a:defRPr>
            </a:lvl1pPr>
          </a:lstStyle>
          <a:p>
            <a:r>
              <a:t>Owner   01 Jan 2021</a:t>
            </a:r>
          </a:p>
        </p:txBody>
      </p:sp>
      <p:sp>
        <p:nvSpPr>
          <p:cNvPr id="3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320800" y="914400"/>
            <a:ext cx="17746055" cy="1270000"/>
          </a:xfrm>
          <a:prstGeom prst="rect">
            <a:avLst/>
          </a:prstGeom>
        </p:spPr>
        <p:txBody>
          <a:bodyPr anchor="ctr"/>
          <a:lstStyle>
            <a:lvl1pPr algn="l">
              <a:defRPr sz="6400" spc="-192">
                <a:solidFill>
                  <a:srgbClr val="333333"/>
                </a:solidFill>
                <a:latin typeface="SF Pro Text Bold"/>
                <a:ea typeface="SF Pro Text Bold"/>
                <a:cs typeface="SF Pro Text Bold"/>
                <a:sym typeface="SF Pro Text Bold"/>
              </a:defRPr>
            </a:lvl1pPr>
          </a:lstStyle>
          <a:p>
            <a:r>
              <a:t>Slide Title</a:t>
            </a:r>
          </a:p>
        </p:txBody>
      </p:sp>
      <p:pic>
        <p:nvPicPr>
          <p:cNvPr id="53" name="Image" descr="Image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1956" y="1016000"/>
            <a:ext cx="2786270" cy="488879"/>
          </a:xfrm>
          <a:prstGeom prst="rect">
            <a:avLst/>
          </a:prstGeom>
          <a:ln w="12700">
            <a:miter lim="400000"/>
          </a:ln>
        </p:spPr>
      </p:pic>
      <p:sp>
        <p:nvSpPr>
          <p:cNvPr id="5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uperM_1.jpeg"/>
          <p:cNvSpPr>
            <a:spLocks noGrp="1"/>
          </p:cNvSpPr>
          <p:nvPr>
            <p:ph type="pic" sz="half" idx="21"/>
          </p:nvPr>
        </p:nvSpPr>
        <p:spPr>
          <a:xfrm>
            <a:off x="12192000" y="6836611"/>
            <a:ext cx="12250786" cy="819525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84" name="john-cameron--gq7GtX3fLc-unsplash.jpg"/>
          <p:cNvSpPr>
            <a:spLocks noGrp="1"/>
          </p:cNvSpPr>
          <p:nvPr>
            <p:ph type="pic" sz="half" idx="22"/>
          </p:nvPr>
        </p:nvSpPr>
        <p:spPr>
          <a:xfrm>
            <a:off x="12192000" y="-1150474"/>
            <a:ext cx="12192000" cy="914624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pic>
        <p:nvPicPr>
          <p:cNvPr id="85" name="zgc1993-GBeaKfqBfzA-unsplash.jpg" descr="zgc1993-GBeaKfqBfzA-unsplash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38001" y="-3251"/>
            <a:ext cx="12230143" cy="13722502"/>
          </a:xfrm>
          <a:prstGeom prst="rect">
            <a:avLst/>
          </a:prstGeom>
          <a:ln w="12700">
            <a:miter lim="400000"/>
          </a:ln>
        </p:spPr>
      </p:pic>
      <p:sp>
        <p:nvSpPr>
          <p:cNvPr id="86" name="Text"/>
          <p:cNvSpPr txBox="1"/>
          <p:nvPr/>
        </p:nvSpPr>
        <p:spPr>
          <a:xfrm>
            <a:off x="22741293" y="12395200"/>
            <a:ext cx="297866" cy="4671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800" tIns="50800" rIns="50800" bIns="50800" anchor="b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87" name="Image" descr="Image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0000" y="1016000"/>
            <a:ext cx="2713888" cy="476179"/>
          </a:xfrm>
          <a:prstGeom prst="rect">
            <a:avLst/>
          </a:prstGeom>
          <a:ln w="12700">
            <a:miter lim="400000"/>
          </a:ln>
        </p:spPr>
      </p:pic>
      <p:sp>
        <p:nvSpPr>
          <p:cNvPr id="8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F74F9-A052-4B8D-AA58-E0E8DED9D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BFFD56-B83A-4048-8DDA-6082768A34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37BB14-6890-43BE-8256-1902F09E6F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188D1-0864-4CB2-A08A-148CF07E71E4}" type="datetimeFigureOut">
              <a:rPr lang="en-US" smtClean="0"/>
              <a:t>11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EC3561-3864-426D-91D0-EAB1FDF20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8B52C7-AFC6-4874-A3F6-D23E3BE25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967641" y="13106961"/>
            <a:ext cx="436018" cy="441146"/>
          </a:xfrm>
        </p:spPr>
        <p:txBody>
          <a:bodyPr/>
          <a:lstStyle/>
          <a:p>
            <a:fld id="{5B41D6A6-FFB2-436F-AD9B-EE06840A3E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117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44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700099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109470" y="1275443"/>
            <a:ext cx="20439536" cy="49244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2625051" y="12997508"/>
            <a:ext cx="65100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22148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471" y="1300333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109470" y="83195"/>
            <a:ext cx="7686676" cy="246222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109472" y="344425"/>
            <a:ext cx="20439536" cy="76944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b="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3021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g.png" descr="bg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26746" y="533400"/>
            <a:ext cx="18770601" cy="131826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Internal information…"/>
          <p:cNvSpPr txBox="1"/>
          <p:nvPr/>
        </p:nvSpPr>
        <p:spPr>
          <a:xfrm>
            <a:off x="1320800" y="1035049"/>
            <a:ext cx="3855691" cy="838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800" tIns="50800" rIns="50800" bIns="50800" anchor="ctr">
            <a:spAutoFit/>
          </a:bodyPr>
          <a:lstStyle/>
          <a:p>
            <a:pPr>
              <a:defRPr cap="all">
                <a:solidFill>
                  <a:srgbClr val="858585"/>
                </a:solidFill>
                <a:latin typeface="SF Pro Text Medium"/>
                <a:ea typeface="SF Pro Text Medium"/>
                <a:cs typeface="SF Pro Text Medium"/>
                <a:sym typeface="SF Pro Text Medium"/>
              </a:defRPr>
            </a:pPr>
            <a:r>
              <a:t>Internal information</a:t>
            </a:r>
          </a:p>
          <a:p>
            <a:pPr>
              <a:defRPr cap="all">
                <a:solidFill>
                  <a:srgbClr val="858585"/>
                </a:solidFill>
                <a:latin typeface="SF Pro Text Medium"/>
                <a:ea typeface="SF Pro Text Medium"/>
                <a:cs typeface="SF Pro Text Medium"/>
                <a:sym typeface="SF Pro Text Medium"/>
              </a:defRPr>
            </a:pPr>
            <a:r>
              <a:t>Do not spread out</a:t>
            </a:r>
          </a:p>
        </p:txBody>
      </p:sp>
      <p:pic>
        <p:nvPicPr>
          <p:cNvPr id="4" name="Image" descr="Image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1956" y="1016000"/>
            <a:ext cx="2786270" cy="488879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70000" y="812800"/>
            <a:ext cx="21844000" cy="1557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Slide Title</a:t>
            </a:r>
          </a:p>
        </p:txBody>
      </p:sp>
      <p:sp>
        <p:nvSpPr>
          <p:cNvPr id="6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1270000" y="4267200"/>
            <a:ext cx="21844000" cy="8432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7623" y="13081000"/>
            <a:ext cx="416053" cy="46710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ctr">
              <a:defRPr sz="2200"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5" r:id="rId3"/>
    <p:sldLayoutId id="2147483657" r:id="rId4"/>
    <p:sldLayoutId id="2147483658" r:id="rId5"/>
    <p:sldLayoutId id="2147483661" r:id="rId6"/>
  </p:sldLayoutIdLst>
  <p:transition spd="med"/>
  <p:txStyles>
    <p:titleStyle>
      <a:lvl1pPr marL="0" marR="0" indent="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1pPr>
      <a:lvl2pPr marL="0" marR="0" indent="4572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2pPr>
      <a:lvl3pPr marL="0" marR="0" indent="9144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3pPr>
      <a:lvl4pPr marL="0" marR="0" indent="13716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4pPr>
      <a:lvl5pPr marL="0" marR="0" indent="18288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5pPr>
      <a:lvl6pPr marL="0" marR="0" indent="22860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6pPr>
      <a:lvl7pPr marL="0" marR="0" indent="27432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7pPr>
      <a:lvl8pPr marL="0" marR="0" indent="32004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8pPr>
      <a:lvl9pPr marL="0" marR="0" indent="36576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9pPr>
    </p:titleStyle>
    <p:bodyStyle>
      <a:lvl1pPr marL="5588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1pPr>
      <a:lvl2pPr marL="11176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2pPr>
      <a:lvl3pPr marL="16764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3pPr>
      <a:lvl4pPr marL="22352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4pPr>
      <a:lvl5pPr marL="27940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5pPr>
      <a:lvl6pPr marL="33528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6pPr>
      <a:lvl7pPr marL="39116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7pPr>
      <a:lvl8pPr marL="44704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8pPr>
      <a:lvl9pPr marL="50292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9pPr>
    </p:bodyStyle>
    <p:other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1pPr>
      <a:lvl2pPr marL="0" marR="0" indent="457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2pPr>
      <a:lvl3pPr marL="0" marR="0" indent="914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3pPr>
      <a:lvl4pPr marL="0" marR="0" indent="1371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4pPr>
      <a:lvl5pPr marL="0" marR="0" indent="1828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5pPr>
      <a:lvl6pPr marL="0" marR="0" indent="22860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6pPr>
      <a:lvl7pPr marL="0" marR="0" indent="2743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7pPr>
      <a:lvl8pPr marL="0" marR="0" indent="3200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8pPr>
      <a:lvl9pPr marL="0" marR="0" indent="3657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Policy &amp; Product Services"/>
          <p:cNvSpPr txBox="1">
            <a:spLocks noGrp="1"/>
          </p:cNvSpPr>
          <p:nvPr>
            <p:ph type="body" sz="quarter" idx="21"/>
          </p:nvPr>
        </p:nvSpPr>
        <p:spPr>
          <a:xfrm>
            <a:off x="431114" y="5093414"/>
            <a:ext cx="12254958" cy="2133918"/>
          </a:xfrm>
          <a:prstGeom prst="rect">
            <a:avLst/>
          </a:prstGeom>
        </p:spPr>
        <p:txBody>
          <a:bodyPr/>
          <a:lstStyle/>
          <a:p>
            <a:r>
              <a:rPr lang="en-US" b="1" i="0" dirty="0">
                <a:solidFill>
                  <a:srgbClr val="FF0000"/>
                </a:solidFill>
                <a:effectLst/>
                <a:latin typeface="-apple-system"/>
              </a:rPr>
              <a:t>New Feature Rollout Demo</a:t>
            </a:r>
          </a:p>
          <a:p>
            <a:r>
              <a:rPr lang="en-US" sz="4800" b="1" dirty="0">
                <a:solidFill>
                  <a:schemeClr val="tx1"/>
                </a:solidFill>
              </a:rPr>
              <a:t>For LBU</a:t>
            </a:r>
          </a:p>
        </p:txBody>
      </p:sp>
      <p:sp>
        <p:nvSpPr>
          <p:cNvPr id="117" name="Introduction"/>
          <p:cNvSpPr txBox="1">
            <a:spLocks noGrp="1"/>
          </p:cNvSpPr>
          <p:nvPr>
            <p:ph type="body" sz="quarter" idx="2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5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sz="5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/>
          <a:p>
            <a:fld id="{86CB4B4D-7CA3-9044-876B-883B54F8677D}" type="slidenum">
              <a:rPr/>
              <a:t>1</a:t>
            </a:fld>
            <a:endParaRPr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FAF1A1-7073-1343-843D-E7D698FC99D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7650225" y="779939"/>
            <a:ext cx="2192255" cy="87302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6EA8AE-9FED-57F5-458E-A017F5DA78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20800" y="12209522"/>
            <a:ext cx="1827423" cy="841256"/>
          </a:xfrm>
        </p:spPr>
        <p:txBody>
          <a:bodyPr/>
          <a:lstStyle/>
          <a:p>
            <a:r>
              <a:rPr lang="en-CN" dirty="0"/>
              <a:t>Terry Yuan</a:t>
            </a:r>
          </a:p>
          <a:p>
            <a:r>
              <a:rPr lang="en-CN" dirty="0"/>
              <a:t>Nov 17, 2023</a:t>
            </a:r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20931-39B8-2C3E-87B3-82EA147E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6600" b="1" i="0" dirty="0">
                <a:solidFill>
                  <a:schemeClr val="tx1"/>
                </a:solidFill>
                <a:effectLst/>
                <a:latin typeface="-apple-system"/>
              </a:rPr>
              <a:t>What is the new feature? </a:t>
            </a:r>
            <a:r>
              <a:rPr lang="en-US" sz="6600" b="1" i="0" dirty="0">
                <a:solidFill>
                  <a:schemeClr val="bg1">
                    <a:lumMod val="85000"/>
                  </a:schemeClr>
                </a:solidFill>
                <a:effectLst/>
                <a:latin typeface="-apple-system"/>
              </a:rPr>
              <a:t>– (Overview)</a:t>
            </a:r>
            <a:endParaRPr lang="en-US" sz="6600" b="0" i="0" dirty="0">
              <a:solidFill>
                <a:schemeClr val="bg1">
                  <a:lumMod val="85000"/>
                </a:schemeClr>
              </a:solidFill>
              <a:effectLst/>
              <a:latin typeface="-apple-system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2770749"/>
            <a:ext cx="22389805" cy="89665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The new feature is a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mutual fund investment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option that allows users to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nvest in a diversified portfolio of securities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with low fees and high return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The purpose of the new feature is to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provide users with an easy and convenient way to grow their wealth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and achieve their financial goal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The benefits of the new feature are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higher returns, lower risks, professional management, and tax efficiency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compared to other investment option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The target audience of the new feature are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users who are looking for a simple and smart way to invest their money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without having to worry about market fluctuations or complex decisions.</a:t>
            </a:r>
          </a:p>
        </p:txBody>
      </p:sp>
    </p:spTree>
    <p:extLst>
      <p:ext uri="{BB962C8B-B14F-4D97-AF65-F5344CB8AC3E}">
        <p14:creationId xmlns:p14="http://schemas.microsoft.com/office/powerpoint/2010/main" val="319926578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20931-39B8-2C3E-87B3-82EA147E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6600" b="1" i="0" dirty="0">
                <a:solidFill>
                  <a:schemeClr val="tx1"/>
                </a:solidFill>
                <a:effectLst/>
                <a:latin typeface="-apple-system"/>
              </a:rPr>
              <a:t>Why do we need the new feature?</a:t>
            </a:r>
            <a:r>
              <a:rPr lang="en-US" sz="6600" b="1" i="0" dirty="0">
                <a:solidFill>
                  <a:schemeClr val="bg1">
                    <a:lumMod val="85000"/>
                  </a:schemeClr>
                </a:solidFill>
                <a:effectLst/>
                <a:latin typeface="-apple-system"/>
              </a:rPr>
              <a:t>  - </a:t>
            </a:r>
            <a:r>
              <a:rPr lang="en-US" sz="6000" b="1" i="0" dirty="0">
                <a:solidFill>
                  <a:schemeClr val="bg1">
                    <a:lumMod val="85000"/>
                  </a:schemeClr>
                </a:solidFill>
                <a:effectLst/>
                <a:latin typeface="-apple-system"/>
              </a:rPr>
              <a:t>(SCQA framework)</a:t>
            </a:r>
            <a:endParaRPr lang="en-CN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2632884"/>
            <a:ext cx="22538660" cy="10443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Situation: The LBU ABC is a leading online platform that offers various financial products and services to its users, such as savings, loans, insurance, and wealth management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Complication: The LBU ABC faces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ncreasing competition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from other platforms that offer similar or better products and services, especially in the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wealth management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segment. The LBU ABC also faces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declining customer satisfaction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loyalty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due to the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limited choices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low returns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of its current investment option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Question: How can the LBU ABC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mprove its competitive advantage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ncrease its customer satisfaction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loyalty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in the wealth management segment?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Answer: The LBU ABC can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ntroduce a new feature of mutual fund investment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that will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attract more customers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,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ncrease their engagement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, and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boost their returns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5107569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20931-39B8-2C3E-87B3-82EA147E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6600" b="1" i="0" dirty="0">
                <a:solidFill>
                  <a:schemeClr val="tx1"/>
                </a:solidFill>
                <a:effectLst/>
                <a:latin typeface="-apple-system"/>
              </a:rPr>
              <a:t>How will the new feature work? -</a:t>
            </a:r>
            <a:r>
              <a:rPr lang="en-US" sz="6600" b="1" i="0" dirty="0">
                <a:solidFill>
                  <a:schemeClr val="bg1">
                    <a:lumMod val="85000"/>
                  </a:schemeClr>
                </a:solidFill>
                <a:effectLst/>
                <a:latin typeface="-apple-system"/>
              </a:rPr>
              <a:t> Pyramid Framework</a:t>
            </a:r>
            <a:endParaRPr lang="en-CN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3107728"/>
            <a:ext cx="23063200" cy="93358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bg1">
                    <a:lumMod val="85000"/>
                  </a:schemeClr>
                </a:solidFill>
                <a:effectLst/>
                <a:latin typeface="-apple-system"/>
              </a:rPr>
              <a:t>Main idea: 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he new feature will allow users to invest in a diversified portfolio of securities with low fees and high returns.</a:t>
            </a:r>
          </a:p>
          <a:p>
            <a:pPr algn="l"/>
            <a:endParaRPr lang="en-US" sz="4000" dirty="0">
              <a:solidFill>
                <a:schemeClr val="tx1"/>
              </a:solidFill>
              <a:latin typeface="-apple-system"/>
            </a:endParaRPr>
          </a:p>
          <a:p>
            <a:pPr algn="l"/>
            <a:r>
              <a:rPr lang="en-US" sz="4000" b="0" i="0" dirty="0">
                <a:solidFill>
                  <a:schemeClr val="bg1">
                    <a:lumMod val="85000"/>
                  </a:schemeClr>
                </a:solidFill>
                <a:effectLst/>
                <a:latin typeface="-apple-system"/>
              </a:rPr>
              <a:t>Supporting ideas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Users can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choose from a variety of mutual fund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that suit their risk appetite, investment horizon, and financial goal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Users can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view the performance, fees, and rating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of each mutual fund and compare them with other option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Users can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track and manage their investment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through the LBU ABC app or website, and receive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regular updates and report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on their portfolio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Users can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withdraw or switch their investment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at any time, subject to the terms and conditions of each mutual fund.</a:t>
            </a:r>
          </a:p>
        </p:txBody>
      </p:sp>
    </p:spTree>
    <p:extLst>
      <p:ext uri="{BB962C8B-B14F-4D97-AF65-F5344CB8AC3E}">
        <p14:creationId xmlns:p14="http://schemas.microsoft.com/office/powerpoint/2010/main" val="378296955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20931-39B8-2C3E-87B3-82EA147E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What feedback we have received</a:t>
            </a:r>
            <a:endParaRPr lang="en-CN" sz="48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2492177"/>
            <a:ext cx="23063200" cy="10566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Some of the feedback we have received are</a:t>
            </a:r>
          </a:p>
          <a:p>
            <a:pPr lvl="7" indent="0"/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he new feature is helpful and convenient, and will help us achieve our financial goals.</a:t>
            </a:r>
          </a:p>
          <a:p>
            <a:pPr lvl="7" indent="0"/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he new feature is functional and user-friendly, and will help us improve our engagement and retention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We have also received some suggestions and recommendations on how to improve the new feature, such as:</a:t>
            </a:r>
          </a:p>
          <a:p>
            <a:pPr marL="457200" lvl="1" indent="0" algn="l"/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 provide more information and education on mutual funds and investing.</a:t>
            </a:r>
          </a:p>
          <a:p>
            <a:pPr marL="457200" lvl="1" indent="0" algn="l"/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 provide more customization and personalization on mutual fund selection and portfolio management.</a:t>
            </a:r>
          </a:p>
          <a:p>
            <a:pPr marL="457200" lvl="1" indent="0" algn="l"/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 provide more feedback and support on mutual fund performance and transactions.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We have addressed or incorporated these suggestions and recommendations by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 create and share content and resources on mutual funds and investing, such as articles, videos, podcasts, etc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 create and offer features and tools on mutual fund selection and portfolio management, such as filters, calculators, simulators, etc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 create and provide feedback and support on mutual fund performance and transactions, such as alerts, notifications, chatbots, etc.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32782941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20931-39B8-2C3E-87B3-82EA147E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6600" b="1" i="0" dirty="0">
                <a:solidFill>
                  <a:schemeClr val="tx1"/>
                </a:solidFill>
                <a:effectLst/>
                <a:latin typeface="-apple-system"/>
              </a:rPr>
              <a:t>What are the next step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3302136"/>
            <a:ext cx="22538660" cy="74892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he next steps for the rollout are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partner with reputable mutual fund provider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negotiate the best terms and rate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for the LBU ABC and its users by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December 2023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design and develop the new feature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integrate it with the existing platform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by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February 2024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test and launch the new feature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to the LBU ABC by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March 2024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he main challenges we face are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regulatory compliance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,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data security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, and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customer education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he support we need from the platform management are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approval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,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funding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, and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resource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2550855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6256792"/>
            <a:ext cx="22538660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sz="9600" b="0" i="0" dirty="0">
                <a:solidFill>
                  <a:schemeClr val="tx1"/>
                </a:solidFill>
                <a:effectLst/>
                <a:latin typeface="-apple-system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198103545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31_ColorGradientLight">
  <a:themeElements>
    <a:clrScheme name="31_ColorGradientLight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76BA"/>
      </a:accent1>
      <a:accent2>
        <a:srgbClr val="05A89D"/>
      </a:accent2>
      <a:accent3>
        <a:srgbClr val="1DB100"/>
      </a:accent3>
      <a:accent4>
        <a:srgbClr val="F9B900"/>
      </a:accent4>
      <a:accent5>
        <a:srgbClr val="EE220D"/>
      </a:accent5>
      <a:accent6>
        <a:srgbClr val="CB297B"/>
      </a:accent6>
      <a:hlink>
        <a:srgbClr val="0000FF"/>
      </a:hlink>
      <a:folHlink>
        <a:srgbClr val="FF00FF"/>
      </a:folHlink>
    </a:clrScheme>
    <a:fontScheme name="31_ColorGradientLight">
      <a:majorFont>
        <a:latin typeface="Graphik Semibold"/>
        <a:ea typeface="Graphik Semibold"/>
        <a:cs typeface="Graphik Semibold"/>
      </a:majorFont>
      <a:minorFont>
        <a:latin typeface="Arial Black"/>
        <a:ea typeface="Arial Black"/>
        <a:cs typeface="Arial Black"/>
      </a:minorFont>
    </a:fontScheme>
    <a:fmtScheme name="31_ColorGradientLigh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Graphik-Medium"/>
            <a:ea typeface="Graphik-Medium"/>
            <a:cs typeface="Graphik-Medium"/>
            <a:sym typeface="Graphik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31_ColorGradientLight">
  <a:themeElements>
    <a:clrScheme name="31_ColorGradientLight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76BA"/>
      </a:accent1>
      <a:accent2>
        <a:srgbClr val="05A89D"/>
      </a:accent2>
      <a:accent3>
        <a:srgbClr val="1DB100"/>
      </a:accent3>
      <a:accent4>
        <a:srgbClr val="F9B900"/>
      </a:accent4>
      <a:accent5>
        <a:srgbClr val="EE220D"/>
      </a:accent5>
      <a:accent6>
        <a:srgbClr val="CB297B"/>
      </a:accent6>
      <a:hlink>
        <a:srgbClr val="0000FF"/>
      </a:hlink>
      <a:folHlink>
        <a:srgbClr val="FF00FF"/>
      </a:folHlink>
    </a:clrScheme>
    <a:fontScheme name="31_ColorGradientLight">
      <a:majorFont>
        <a:latin typeface="Graphik Semibold"/>
        <a:ea typeface="Graphik Semibold"/>
        <a:cs typeface="Graphik Semibold"/>
      </a:majorFont>
      <a:minorFont>
        <a:latin typeface="Arial Black"/>
        <a:ea typeface="Arial Black"/>
        <a:cs typeface="Arial Black"/>
      </a:minorFont>
    </a:fontScheme>
    <a:fmtScheme name="31_ColorGradientLigh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Graphik-Medium"/>
            <a:ea typeface="Graphik-Medium"/>
            <a:cs typeface="Graphik-Medium"/>
            <a:sym typeface="Graphik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F22B3E08EC8544B28584F082CA6513" ma:contentTypeVersion="9" ma:contentTypeDescription="Create a new document." ma:contentTypeScope="" ma:versionID="ac48cbb7c1276d87d80d8e2f4458060d">
  <xsd:schema xmlns:xsd="http://www.w3.org/2001/XMLSchema" xmlns:xs="http://www.w3.org/2001/XMLSchema" xmlns:p="http://schemas.microsoft.com/office/2006/metadata/properties" xmlns:ns2="fa2d00f7-f4bd-4ea5-82e5-8f624a0de6a8" xmlns:ns3="4f5e9503-8f08-41af-a0c9-6d89b580f701" targetNamespace="http://schemas.microsoft.com/office/2006/metadata/properties" ma:root="true" ma:fieldsID="508d1ffc4d0b05a75c6a019578414c1f" ns2:_="" ns3:_="">
    <xsd:import namespace="fa2d00f7-f4bd-4ea5-82e5-8f624a0de6a8"/>
    <xsd:import namespace="4f5e9503-8f08-41af-a0c9-6d89b580f7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2d00f7-f4bd-4ea5-82e5-8f624a0de6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5e9503-8f08-41af-a0c9-6d89b580f70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55CB60-014A-4404-944C-AE30F4F8A36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109F705-6274-48D1-A466-4189EE7EBCD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7C8720D-C50F-403F-8FA1-A742DBD4F5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2d00f7-f4bd-4ea5-82e5-8f624a0de6a8"/>
    <ds:schemaRef ds:uri="4f5e9503-8f08-41af-a0c9-6d89b580f70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fead094-560e-463c-bb19-c3c75b05d1f6}" enabled="1" method="Standard" siteId="{7007305e-2664-4e6b-b9a4-c4d5ccfd1524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708</Words>
  <Application>Microsoft Macintosh PowerPoint</Application>
  <PresentationFormat>Custom</PresentationFormat>
  <Paragraphs>61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-apple-system</vt:lpstr>
      <vt:lpstr>Graphik</vt:lpstr>
      <vt:lpstr>Graphik Semibold</vt:lpstr>
      <vt:lpstr>SF Pro Text Bold</vt:lpstr>
      <vt:lpstr>SF Pro Text Heavy</vt:lpstr>
      <vt:lpstr>SF Pro Text Medium</vt:lpstr>
      <vt:lpstr>Arial</vt:lpstr>
      <vt:lpstr>Arial Black</vt:lpstr>
      <vt:lpstr>Helvetica Neue</vt:lpstr>
      <vt:lpstr>Segoe UI</vt:lpstr>
      <vt:lpstr>31_ColorGradientLight</vt:lpstr>
      <vt:lpstr>think-cell Slide</vt:lpstr>
      <vt:lpstr>PowerPoint Presentation</vt:lpstr>
      <vt:lpstr>What is the new feature? – (Overview)</vt:lpstr>
      <vt:lpstr>Why do we need the new feature?  - (SCQA framework)</vt:lpstr>
      <vt:lpstr>How will the new feature work? - Pyramid Framework</vt:lpstr>
      <vt:lpstr>What feedback we have received</vt:lpstr>
      <vt:lpstr>What are the next step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Terry Yuan</cp:lastModifiedBy>
  <cp:revision>5</cp:revision>
  <dcterms:modified xsi:type="dcterms:W3CDTF">2023-11-20T02:4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fead094-560e-463c-bb19-c3c75b05d1f6_Enabled">
    <vt:lpwstr>true</vt:lpwstr>
  </property>
  <property fmtid="{D5CDD505-2E9C-101B-9397-08002B2CF9AE}" pid="3" name="MSIP_Label_efead094-560e-463c-bb19-c3c75b05d1f6_SetDate">
    <vt:lpwstr>2022-06-30T11:38:33Z</vt:lpwstr>
  </property>
  <property fmtid="{D5CDD505-2E9C-101B-9397-08002B2CF9AE}" pid="4" name="MSIP_Label_efead094-560e-463c-bb19-c3c75b05d1f6_Name">
    <vt:lpwstr>Restricted(PRU)</vt:lpwstr>
  </property>
  <property fmtid="{D5CDD505-2E9C-101B-9397-08002B2CF9AE}" pid="5" name="MSIP_Label_efead094-560e-463c-bb19-c3c75b05d1f6_SiteId">
    <vt:lpwstr>7007305e-2664-4e6b-b9a4-c4d5ccfd1524</vt:lpwstr>
  </property>
  <property fmtid="{D5CDD505-2E9C-101B-9397-08002B2CF9AE}" pid="6" name="MSIP_Label_efead094-560e-463c-bb19-c3c75b05d1f6_ActionId">
    <vt:lpwstr>b66e98df-17a8-4ff9-adcc-d0d98f5d09a4</vt:lpwstr>
  </property>
  <property fmtid="{D5CDD505-2E9C-101B-9397-08002B2CF9AE}" pid="7" name="MSIP_Label_efead094-560e-463c-bb19-c3c75b05d1f6_Method">
    <vt:lpwstr>Standard</vt:lpwstr>
  </property>
  <property fmtid="{D5CDD505-2E9C-101B-9397-08002B2CF9AE}" pid="8" name="MSIP_Label_efead094-560e-463c-bb19-c3c75b05d1f6_ContentBits">
    <vt:lpwstr>0</vt:lpwstr>
  </property>
  <property fmtid="{D5CDD505-2E9C-101B-9397-08002B2CF9AE}" pid="9" name="ContentTypeId">
    <vt:lpwstr>0x010100EDF22B3E08EC8544B28584F082CA6513</vt:lpwstr>
  </property>
</Properties>
</file>